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62" r:id="rId2"/>
    <p:sldId id="264" r:id="rId3"/>
    <p:sldId id="265" r:id="rId4"/>
    <p:sldId id="266" r:id="rId5"/>
    <p:sldId id="267" r:id="rId6"/>
    <p:sldId id="268" r:id="rId7"/>
    <p:sldId id="269" r:id="rId8"/>
    <p:sldId id="270" r:id="rId9"/>
  </p:sldIdLst>
  <p:sldSz cx="12192000" cy="6858000"/>
  <p:notesSz cx="6858000" cy="9144000"/>
  <p:custDataLst>
    <p:tags r:id="rId1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79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66DE02-666B-4CD3-9D49-774AB3827DD9}" type="datetimeFigureOut">
              <a:rPr lang="en-US" smtClean="0"/>
              <a:t>1/29/2026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90CA8-C2F4-4DB2-ABA6-2D3FFBFAC9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6994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45FD8-70F5-4B49-967D-DE44068AC045}" type="datetimeFigureOut">
              <a:rPr lang="en-US" smtClean="0"/>
              <a:t>1/29/2026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FD5FE-CA9A-4365-AA48-B30FD3C32A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6038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45FD8-70F5-4B49-967D-DE44068AC045}" type="datetimeFigureOut">
              <a:rPr lang="en-US" smtClean="0"/>
              <a:t>1/29/2026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FD5FE-CA9A-4365-AA48-B30FD3C32A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267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45FD8-70F5-4B49-967D-DE44068AC045}" type="datetimeFigureOut">
              <a:rPr lang="en-US" smtClean="0"/>
              <a:t>1/29/2026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FD5FE-CA9A-4365-AA48-B30FD3C32A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8942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Мастер-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1B4EF-64D7-894B-8937-1E4CB50F3D07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fld id="{C960BA5E-7A21-1A4B-A537-36612EA657E4}" type="slidenum">
              <a:rPr lang="ru-RU" sz="100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>
            <a:extLst>
              <a:ext uri="{FF2B5EF4-FFF2-40B4-BE49-F238E27FC236}">
                <a16:creationId xmlns:a16="http://schemas.microsoft.com/office/drawing/2014/main" id="{BC9D3F86-46AF-B148-81A5-CE22C9BB6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763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11193AD8-7526-4C4B-87F9-AA111B81830F}"/>
              </a:ext>
            </a:extLst>
          </p:cNvPr>
          <p:cNvCxnSpPr>
            <a:cxnSpLocks/>
          </p:cNvCxnSpPr>
          <p:nvPr userDrawn="1"/>
        </p:nvCxnSpPr>
        <p:spPr>
          <a:xfrm>
            <a:off x="11104840" y="6460250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Нижний колонтитул 3">
            <a:extLst>
              <a:ext uri="{FF2B5EF4-FFF2-40B4-BE49-F238E27FC236}">
                <a16:creationId xmlns:a16="http://schemas.microsoft.com/office/drawing/2014/main" id="{D801FA61-05AE-9F43-9B2C-19BA47D0AB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69892" y="6359763"/>
            <a:ext cx="31752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ru-RU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070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45FD8-70F5-4B49-967D-DE44068AC045}" type="datetimeFigureOut">
              <a:rPr lang="en-US" smtClean="0"/>
              <a:t>1/29/2026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FD5FE-CA9A-4365-AA48-B30FD3C32A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071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45FD8-70F5-4B49-967D-DE44068AC045}" type="datetimeFigureOut">
              <a:rPr lang="en-US" smtClean="0"/>
              <a:t>1/29/2026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FD5FE-CA9A-4365-AA48-B30FD3C32A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973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45FD8-70F5-4B49-967D-DE44068AC045}" type="datetimeFigureOut">
              <a:rPr lang="en-US" smtClean="0"/>
              <a:t>1/29/2026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FD5FE-CA9A-4365-AA48-B30FD3C32A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3202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45FD8-70F5-4B49-967D-DE44068AC045}" type="datetimeFigureOut">
              <a:rPr lang="en-US" smtClean="0"/>
              <a:t>1/29/2026</a:t>
            </a:fld>
            <a:endParaRPr lang="en-US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FD5FE-CA9A-4365-AA48-B30FD3C32A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6779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45FD8-70F5-4B49-967D-DE44068AC045}" type="datetimeFigureOut">
              <a:rPr lang="en-US" smtClean="0"/>
              <a:t>1/29/2026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FD5FE-CA9A-4365-AA48-B30FD3C32A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830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45FD8-70F5-4B49-967D-DE44068AC045}" type="datetimeFigureOut">
              <a:rPr lang="en-US" smtClean="0"/>
              <a:t>1/29/2026</a:t>
            </a:fld>
            <a:endParaRPr 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FD5FE-CA9A-4365-AA48-B30FD3C32A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8420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45FD8-70F5-4B49-967D-DE44068AC045}" type="datetimeFigureOut">
              <a:rPr lang="en-US" smtClean="0"/>
              <a:t>1/29/2026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FD5FE-CA9A-4365-AA48-B30FD3C32A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665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45FD8-70F5-4B49-967D-DE44068AC045}" type="datetimeFigureOut">
              <a:rPr lang="en-US" smtClean="0"/>
              <a:t>1/29/2026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FD5FE-CA9A-4365-AA48-B30FD3C32A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556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0566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" name="Слайд think-cell" r:id="rId16" imgW="216" imgH="216" progId="TCLayout.ActiveDocument.1">
                  <p:embed/>
                </p:oleObj>
              </mc:Choice>
              <mc:Fallback>
                <p:oleObj name="Слайд think-cell" r:id="rId1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645FD8-70F5-4B49-967D-DE44068AC045}" type="datetimeFigureOut">
              <a:rPr lang="en-US" smtClean="0"/>
              <a:t>1/29/2026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3FD5FE-CA9A-4365-AA48-B30FD3C32A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814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jp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6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8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7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20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1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hyperlink" Target="https://www.google.com/search?q=%D1%83%D0%BF%D1%80%D0%B0%D0%B2%D0%BB%D0%B5%D0%BD%D0%B8%D1%8F+%D1%80%D0%B0%D1%81%D1%85%D0%BE%D0%B4%D0%BE%D0%BC+%D0%B6%D0%B8%D0%B4%D0%BA%D0%BE%D1%81%D1%82%D0%B5%D0%B9+%D0%B8+%D0%B3%D0%B0%D0%B7%D0%BE%D0%B2&amp;sca_esv=77cec648839112db&amp;ei=2uhpaaeBJaX8wPAP6MXOiAE&amp;ved=2ahUKEwjagKCoxo-SAxWBSVUIHVozNgoQgK4QegQIARAB&amp;oq=%D0%9A%D0%9B%D0%90%D0%9F%D0%90%D0%9D+%D0%A0%D0%95%D0%93%D0%A3%D0%9B%D0%98%D0%A0%D0%A3%D0%AE%D0%A9%D0%98%D0%99+35-35222+%D0%94%D0%A3200+%D0%A0%D0%A31+%D0%BF%D1%80%D0%B8%D0%BC%D0%B5%D0%BD%D1%8F%D0%B5%D1%82%D1%81%D1%8F+%D0%B4%D0%BB%D1%8F+&amp;gs_lp=Egxnd3Mtd2l6LXNlcnAiW9Ca0JvQkNCf0JDQnSDQoNCV0JPQo9Cb0JjQoNCj0K7QqdCY0JkgMzUtMzUyMjIg0JTQozIwMCDQoNCjMSDQv9GA0LjQvNC10L3Rj9C10YLRgdGPINC00LvRjyAyBRAAGO8FMgUQABjvBTIFEAAY7wUyCBAAGIAEGKIEMggQABiiBBiJBUiugQFQohVY_VdwAXgAkAEAmAHkEqABjW6qAQc3LTIuMC41uAEMyAEA-AEBmAIGoAK6UsICCBAAGLADGO8FwgILEAAYgAQYsAMYogTCAgsQABiwAxiiBBiJBcICBBAhGBWYAwCIBgGQBgWSBwcxLjctMS40oAfsIbIHBTctMS40uAe2UsIHBTEuNC4xyAcMgAgA&amp;sclient=gws-wiz-serp&amp;mstk=AUtExfBcFTJAnzIEcE-ApuAFq8hcB0CFKMEuWLSTDF70dvzCem_RhEjD-7ZJQQUOxhBrkrkMW-tsMYWva5jLNix3qs47c1MCsuRFCVMe35x6ceCzKnQexhJm9qAPoHAbWaEMxUA&amp;csui=3" TargetMode="Externa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974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6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65595" y="155990"/>
            <a:ext cx="9072000" cy="2846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261" fontAlgn="ctr">
              <a:lnSpc>
                <a:spcPct val="90000"/>
              </a:lnSpc>
            </a:pP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АО «Среднеуральский медеплавильный завод» БЕ 2100</a:t>
            </a:r>
            <a:endParaRPr lang="ru-RU" sz="2000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0067" y="224118"/>
            <a:ext cx="436780" cy="367553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950245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5698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950244" y="318088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535B97D3-2A5E-EE46-858F-3CD079345D15}"/>
              </a:ext>
            </a:extLst>
          </p:cNvPr>
          <p:cNvSpPr/>
          <p:nvPr/>
        </p:nvSpPr>
        <p:spPr>
          <a:xfrm>
            <a:off x="5243333" y="610439"/>
            <a:ext cx="6504974" cy="1661993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ЗАТВОР ПД </a:t>
            </a:r>
            <a:r>
              <a:rPr lang="en-US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VALREG </a:t>
            </a:r>
            <a:r>
              <a:rPr lang="ru-RU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ДУ500 РУ М/ФЛ РЕГУЛИР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Ном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. №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704957</a:t>
            </a:r>
            <a:endParaRPr lang="ru-RU" sz="1100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Кол-во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шт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тоимость: </a:t>
            </a:r>
            <a:r>
              <a:rPr lang="en-US" sz="1100" kern="0" noProof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861 510,11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руб.,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цена за шт.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430 755,056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руб. без НДС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рок хранения: </a:t>
            </a:r>
            <a:r>
              <a:rPr lang="en-US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c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0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13 года, состояние: новое.</a:t>
            </a:r>
            <a:endParaRPr lang="en-US" sz="1100" kern="0" dirty="0" smtClean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Произведен в Италии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>
              <a:spcBef>
                <a:spcPts val="369"/>
              </a:spcBef>
              <a:defRPr/>
            </a:pP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Приобретен для системы контроля и управления конвертеров № 1, 2, 3 конвертерного отделения МПЦ. Проект не был реализован. </a:t>
            </a:r>
            <a:endParaRPr lang="ru-RU" sz="1100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94796" y="214016"/>
            <a:ext cx="436780" cy="367553"/>
          </a:xfrm>
          <a:prstGeom prst="roundRect">
            <a:avLst/>
          </a:prstGeom>
          <a:ln w="28575">
            <a:solidFill>
              <a:srgbClr val="F29313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32" noProof="0" dirty="0">
                <a:solidFill>
                  <a:schemeClr val="tx1"/>
                </a:solidFill>
                <a:latin typeface="Calibri"/>
              </a:rPr>
              <a:t>1</a:t>
            </a: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69" y="644056"/>
            <a:ext cx="4357718" cy="505069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959" y="2963118"/>
            <a:ext cx="2986068" cy="2766349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636645" y="2637094"/>
            <a:ext cx="2812652" cy="346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109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571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9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65595" y="155990"/>
            <a:ext cx="9072000" cy="2846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261" fontAlgn="ctr">
              <a:lnSpc>
                <a:spcPct val="90000"/>
              </a:lnSpc>
            </a:pP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АО «Среднеуральский медеплавильный завод» БЕ 2100</a:t>
            </a:r>
            <a:endParaRPr lang="ru-RU" sz="2000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0067" y="224118"/>
            <a:ext cx="436780" cy="367553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950245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5698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950244" y="318088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535B97D3-2A5E-EE46-858F-3CD079345D15}"/>
              </a:ext>
            </a:extLst>
          </p:cNvPr>
          <p:cNvSpPr/>
          <p:nvPr/>
        </p:nvSpPr>
        <p:spPr>
          <a:xfrm>
            <a:off x="5243333" y="552566"/>
            <a:ext cx="6504974" cy="2339102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КИРПИЧ </a:t>
            </a:r>
            <a:r>
              <a:rPr lang="en-US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GE-20A</a:t>
            </a:r>
            <a:endParaRPr lang="ru-RU" sz="1100" b="1" kern="0" dirty="0" smtClean="0">
              <a:solidFill>
                <a:srgbClr val="EB8B2D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Ном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. №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38844</a:t>
            </a:r>
            <a:endParaRPr lang="ru-RU" sz="1100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Кол-во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en-US" sz="1100" kern="0" noProof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9,74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err="1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тн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тоимость: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302 433,43 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руб., </a:t>
            </a:r>
            <a:r>
              <a:rPr lang="ru-RU" sz="1100" kern="0" noProof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цена 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31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050,66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kumimoji="0" lang="ru-RU" sz="1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руб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/</a:t>
            </a:r>
            <a:r>
              <a:rPr kumimoji="0" lang="ru-RU" sz="1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тн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. </a:t>
            </a:r>
            <a:r>
              <a:rPr lang="ru-RU" sz="1100" kern="0" noProof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без</a:t>
            </a:r>
            <a:r>
              <a:rPr lang="ru-RU" sz="1100" kern="0" noProof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noProof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НДС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рок хранения: </a:t>
            </a:r>
            <a:r>
              <a:rPr lang="en-US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c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0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1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года, состояние новое.</a:t>
            </a:r>
            <a:endParaRPr lang="en-US" sz="1100" kern="0" dirty="0" smtClean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Произведен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в Китае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Приобретен  для футеровки металлургических агрегатов МПЦ.</a:t>
            </a:r>
            <a:r>
              <a:rPr lang="ru-RU" altLang="ru-RU" sz="1100" dirty="0">
                <a:solidFill>
                  <a:srgbClr val="333333"/>
                </a:solidFill>
              </a:rPr>
              <a:t> </a:t>
            </a:r>
            <a:endParaRPr lang="ru-RU" altLang="ru-RU" sz="1100" dirty="0" smtClean="0">
              <a:solidFill>
                <a:srgbClr val="333333"/>
              </a:solidFill>
            </a:endParaRPr>
          </a:p>
          <a:p>
            <a:r>
              <a:rPr lang="ru-RU" altLang="ru-RU" sz="1100" dirty="0" smtClean="0">
                <a:solidFill>
                  <a:srgbClr val="333333"/>
                </a:solidFill>
              </a:rPr>
              <a:t>ОСНОВНЫЕ </a:t>
            </a:r>
            <a:r>
              <a:rPr lang="ru-RU" altLang="ru-RU" sz="1100" dirty="0">
                <a:solidFill>
                  <a:srgbClr val="333333"/>
                </a:solidFill>
              </a:rPr>
              <a:t>ТЕХНИЧЕСКИЕ ХАРАКТЕРИСТИКИ: Материал </a:t>
            </a:r>
            <a:r>
              <a:rPr lang="en-US" altLang="ru-RU" sz="1100" dirty="0">
                <a:solidFill>
                  <a:srgbClr val="333333"/>
                </a:solidFill>
              </a:rPr>
              <a:t>QDMGE-20A ( </a:t>
            </a:r>
            <a:r>
              <a:rPr lang="ru-RU" altLang="ru-RU" sz="1100" dirty="0">
                <a:solidFill>
                  <a:srgbClr val="333333"/>
                </a:solidFill>
              </a:rPr>
              <a:t>Аналог Кирпича </a:t>
            </a:r>
            <a:r>
              <a:rPr lang="ru-RU" altLang="ru-RU" sz="1100" dirty="0" err="1">
                <a:solidFill>
                  <a:srgbClr val="333333"/>
                </a:solidFill>
              </a:rPr>
              <a:t>хромито-периклазового</a:t>
            </a:r>
            <a:r>
              <a:rPr lang="ru-RU" altLang="ru-RU" sz="1100" dirty="0">
                <a:solidFill>
                  <a:srgbClr val="333333"/>
                </a:solidFill>
              </a:rPr>
              <a:t>). </a:t>
            </a:r>
          </a:p>
          <a:p>
            <a:r>
              <a:rPr lang="ru-RU" altLang="ru-RU" sz="1100" dirty="0">
                <a:solidFill>
                  <a:srgbClr val="333333"/>
                </a:solidFill>
              </a:rPr>
              <a:t>Размер 230х115х65 – 3 поддона;</a:t>
            </a:r>
          </a:p>
          <a:p>
            <a:r>
              <a:rPr lang="ru-RU" altLang="ru-RU" sz="1100" dirty="0">
                <a:solidFill>
                  <a:srgbClr val="333333"/>
                </a:solidFill>
              </a:rPr>
              <a:t>Размер 390х335х460х75х40х25 – 4 поддона.</a:t>
            </a:r>
          </a:p>
          <a:p>
            <a:pPr>
              <a:spcBef>
                <a:spcPts val="369"/>
              </a:spcBef>
              <a:defRPr/>
            </a:pPr>
            <a:endParaRPr lang="ru-RU" sz="1100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94796" y="214016"/>
            <a:ext cx="436780" cy="367553"/>
          </a:xfrm>
          <a:prstGeom prst="roundRect">
            <a:avLst/>
          </a:prstGeom>
          <a:ln w="28575">
            <a:solidFill>
              <a:srgbClr val="F29313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32" noProof="0" dirty="0">
                <a:solidFill>
                  <a:schemeClr val="tx1"/>
                </a:solidFill>
                <a:latin typeface="Calibri"/>
              </a:rPr>
              <a:t>2</a:t>
            </a: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427" y="555587"/>
            <a:ext cx="3817067" cy="606513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367" y="2858947"/>
            <a:ext cx="3194614" cy="3813858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342" y="2882096"/>
            <a:ext cx="2909534" cy="376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242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366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6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65595" y="155990"/>
            <a:ext cx="9072000" cy="2846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261" fontAlgn="ctr"/>
            <a:r>
              <a:rPr lang="ru-RU" sz="2000" dirty="0" smtClean="0"/>
              <a:t>АО «Среднеуральский медеплавильный завод» БЕ 2100</a:t>
            </a:r>
            <a:endParaRPr lang="ru-RU" sz="2000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0067" y="224118"/>
            <a:ext cx="436780" cy="367553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950245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5698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950244" y="318088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535B97D3-2A5E-EE46-858F-3CD079345D15}"/>
              </a:ext>
            </a:extLst>
          </p:cNvPr>
          <p:cNvSpPr/>
          <p:nvPr/>
        </p:nvSpPr>
        <p:spPr>
          <a:xfrm>
            <a:off x="6748040" y="610440"/>
            <a:ext cx="5220181" cy="3067506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ЭЛ.ДВ.3</a:t>
            </a:r>
            <a:r>
              <a:rPr lang="en-US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G</a:t>
            </a:r>
            <a:r>
              <a:rPr lang="ru-RU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ВР312220-</a:t>
            </a:r>
            <a:r>
              <a:rPr lang="en-US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BDG </a:t>
            </a:r>
            <a:r>
              <a:rPr lang="ru-RU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М3ВР-315</a:t>
            </a:r>
            <a:r>
              <a:rPr lang="en-US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S</a:t>
            </a:r>
            <a:r>
              <a:rPr lang="ru-RU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МВ4 </a:t>
            </a:r>
            <a:r>
              <a:rPr lang="en-US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IM3011</a:t>
            </a:r>
            <a:endParaRPr lang="ru-RU" sz="1100" b="1" kern="0" dirty="0" smtClean="0">
              <a:solidFill>
                <a:srgbClr val="EB8B2D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Ном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. №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72121</a:t>
            </a:r>
            <a:endParaRPr lang="ru-RU" sz="1100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Кол-во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1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шт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тоимость: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32 700,26</a:t>
            </a:r>
            <a:r>
              <a:rPr lang="en-US" sz="1100" kern="0" noProof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руб. без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НДС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рок хранения: </a:t>
            </a:r>
            <a:r>
              <a:rPr lang="en-US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c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015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года, состояние: новое.</a:t>
            </a:r>
            <a:endParaRPr lang="en-US" sz="1100" kern="0" dirty="0" smtClean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Изготовитель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ABB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 smtClean="0">
                <a:solidFill>
                  <a:srgbClr val="333333"/>
                </a:solidFill>
              </a:rPr>
              <a:t>Применяется в промышленном </a:t>
            </a:r>
            <a:r>
              <a:rPr lang="ru-RU" altLang="ru-RU" sz="1100" dirty="0">
                <a:solidFill>
                  <a:srgbClr val="333333"/>
                </a:solidFill>
              </a:rPr>
              <a:t>оборудовании различного направления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>
                <a:solidFill>
                  <a:srgbClr val="333333"/>
                </a:solidFill>
              </a:rPr>
              <a:t>Всевозможное оборудование общепромышленной сферы;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>
                <a:solidFill>
                  <a:srgbClr val="333333"/>
                </a:solidFill>
              </a:rPr>
              <a:t>Дробильное и конвейерное оборудование;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>
                <a:solidFill>
                  <a:srgbClr val="333333"/>
                </a:solidFill>
              </a:rPr>
              <a:t>Центробежные сепараторы;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>
                <a:solidFill>
                  <a:srgbClr val="333333"/>
                </a:solidFill>
              </a:rPr>
              <a:t>Компрессоры локального или коллективного использования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100" dirty="0">
              <a:solidFill>
                <a:srgbClr val="333333"/>
              </a:solidFill>
            </a:endParaRPr>
          </a:p>
          <a:p>
            <a:r>
              <a:rPr lang="ru-RU" altLang="ru-RU" sz="1100" dirty="0">
                <a:solidFill>
                  <a:srgbClr val="333333"/>
                </a:solidFill>
              </a:rPr>
              <a:t>ОСНОВНЫЕ ТЕХНИЧЕСКИЕ ХАРАКТЕРИСТИКИ: Напряжение – 380 В, частота – 50 ГЦ, мощность – 132 кВт, Частота вращения – 1486 об/мин,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>
              <a:spcBef>
                <a:spcPts val="369"/>
              </a:spcBef>
              <a:defRPr/>
            </a:pPr>
            <a:endParaRPr lang="ru-RU" sz="1100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94796" y="214016"/>
            <a:ext cx="436780" cy="367553"/>
          </a:xfrm>
          <a:prstGeom prst="roundRect">
            <a:avLst/>
          </a:prstGeom>
          <a:ln w="28575">
            <a:solidFill>
              <a:srgbClr val="F29313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32" dirty="0">
                <a:solidFill>
                  <a:schemeClr val="tx1"/>
                </a:solidFill>
                <a:latin typeface="Calibri"/>
              </a:rPr>
              <a:t>3</a:t>
            </a: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206" y="740779"/>
            <a:ext cx="5764192" cy="5845215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1191" y="3430601"/>
            <a:ext cx="3646025" cy="3143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490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4905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7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65595" y="155990"/>
            <a:ext cx="9072000" cy="2846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261" fontAlgn="ctr"/>
            <a:r>
              <a:rPr lang="en-US" sz="2000" dirty="0" smtClean="0"/>
              <a:t> </a:t>
            </a:r>
            <a:r>
              <a:rPr lang="ru-RU" sz="2000" b="0" dirty="0" smtClean="0"/>
              <a:t>АО «Среднеуральский медеплавильный завод» БЕ 2100</a:t>
            </a:r>
            <a:r>
              <a:rPr lang="fr-FR" sz="2000" dirty="0" smtClean="0"/>
              <a:t> </a:t>
            </a:r>
            <a:endParaRPr lang="ru-RU" sz="2000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0067" y="224118"/>
            <a:ext cx="436780" cy="367553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950245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5698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950244" y="318088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535B97D3-2A5E-EE46-858F-3CD079345D15}"/>
              </a:ext>
            </a:extLst>
          </p:cNvPr>
          <p:cNvSpPr/>
          <p:nvPr/>
        </p:nvSpPr>
        <p:spPr>
          <a:xfrm>
            <a:off x="5243332" y="578734"/>
            <a:ext cx="6678591" cy="3134191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ПРЕДФИЛЬТР </a:t>
            </a:r>
            <a:r>
              <a:rPr lang="en-US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P2R ADAPTERS EN 143</a:t>
            </a:r>
            <a:endParaRPr lang="ru-RU" sz="1100" b="1" kern="0" dirty="0" smtClean="0">
              <a:solidFill>
                <a:srgbClr val="EB8B2D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Ном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. №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306896</a:t>
            </a:r>
            <a:endParaRPr lang="ru-RU" sz="1100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Кол-во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en-US" sz="1100" kern="0" noProof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17 366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шт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тоимость: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448 251,19 </a:t>
            </a:r>
            <a:r>
              <a:rPr lang="ru-RU" sz="1100" kern="0" dirty="0" err="1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руб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.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, 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цена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за шт.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5,81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руб.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без НДС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рок хранения: </a:t>
            </a:r>
            <a:r>
              <a:rPr lang="en-US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c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018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года, состояние: новое.</a:t>
            </a:r>
            <a:endParaRPr lang="en-US" sz="1100" kern="0" dirty="0" smtClean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Изготовитель Компания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ADAPTERS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dirty="0" smtClean="0"/>
              <a:t>Применяются </a:t>
            </a:r>
            <a:r>
              <a:rPr lang="ru-RU" sz="1100" dirty="0"/>
              <a:t>в процессе окраски деталей, в автомобилестроении, а также в фармацевтической и горнодобывающей промышленности. </a:t>
            </a:r>
            <a:r>
              <a:rPr lang="ru-RU" sz="1100" dirty="0" err="1"/>
              <a:t>Предфильтр</a:t>
            </a:r>
            <a:r>
              <a:rPr lang="ru-RU" sz="1100" dirty="0"/>
              <a:t> продлевает срок службы фильтра до 10 раз!</a:t>
            </a:r>
            <a:endParaRPr lang="ru-RU" altLang="ru-RU" sz="1100" dirty="0">
              <a:solidFill>
                <a:srgbClr val="333333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100" dirty="0">
              <a:solidFill>
                <a:srgbClr val="333333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>
                <a:solidFill>
                  <a:srgbClr val="333333"/>
                </a:solidFill>
              </a:rPr>
              <a:t>ОСНОВНЫЕ ТЕХНИЧЕСКИЕ ХАРАКТЕРИСТИКИ: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>
                <a:solidFill>
                  <a:srgbClr val="333333"/>
                </a:solidFill>
              </a:rPr>
              <a:t>Тип – </a:t>
            </a:r>
            <a:r>
              <a:rPr lang="ru-RU" altLang="ru-RU" sz="1100" dirty="0" err="1">
                <a:solidFill>
                  <a:srgbClr val="333333"/>
                </a:solidFill>
              </a:rPr>
              <a:t>предфильтр</a:t>
            </a:r>
            <a:endParaRPr lang="ru-RU" altLang="ru-RU" sz="1100" dirty="0">
              <a:solidFill>
                <a:srgbClr val="333333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>
                <a:solidFill>
                  <a:srgbClr val="333333"/>
                </a:solidFill>
              </a:rPr>
              <a:t>Маркировка – Р</a:t>
            </a:r>
            <a:r>
              <a:rPr lang="en-US" altLang="ru-RU" sz="1100" dirty="0">
                <a:solidFill>
                  <a:srgbClr val="333333"/>
                </a:solidFill>
              </a:rPr>
              <a:t>2R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>
                <a:solidFill>
                  <a:srgbClr val="333333"/>
                </a:solidFill>
              </a:rPr>
              <a:t>Защитные свойства –от пыли, дыма, тумана, </a:t>
            </a:r>
            <a:r>
              <a:rPr lang="ru-RU" altLang="ru-RU" sz="1100" dirty="0" err="1">
                <a:solidFill>
                  <a:srgbClr val="333333"/>
                </a:solidFill>
              </a:rPr>
              <a:t>маслянные</a:t>
            </a:r>
            <a:r>
              <a:rPr lang="ru-RU" altLang="ru-RU" sz="1100" dirty="0">
                <a:solidFill>
                  <a:srgbClr val="333333"/>
                </a:solidFill>
              </a:rPr>
              <a:t> и другие жидкие аэрозоли</a:t>
            </a:r>
            <a:endParaRPr lang="ru-RU" altLang="ru-RU" sz="1100" dirty="0">
              <a:solidFill>
                <a:srgbClr val="262626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>
                <a:solidFill>
                  <a:srgbClr val="333333"/>
                </a:solidFill>
              </a:rPr>
              <a:t>Использование – многоразовое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100" dirty="0">
              <a:solidFill>
                <a:srgbClr val="333333"/>
              </a:solidFill>
            </a:endParaRPr>
          </a:p>
          <a:p>
            <a:pPr lvl="0"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262626"/>
                </a:solidFill>
                <a:cs typeface="Segoe UI" panose="020B0502040204020203" pitchFamily="34" charset="0"/>
              </a:rPr>
              <a:t>КРАТКОЕ ОПИСАНИЕ ТЕКУЩЕГО ТЕХНИЧЕСКОГО СОСТОЯНИЯ: Новое, срок годности не указан.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262626"/>
              </a:solidFill>
              <a:cs typeface="Segoe UI" panose="020B0502040204020203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94796" y="214016"/>
            <a:ext cx="436780" cy="367553"/>
          </a:xfrm>
          <a:prstGeom prst="roundRect">
            <a:avLst/>
          </a:prstGeom>
          <a:ln w="28575">
            <a:solidFill>
              <a:srgbClr val="F29313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32" noProof="0" dirty="0">
                <a:solidFill>
                  <a:schemeClr val="tx1"/>
                </a:solidFill>
                <a:latin typeface="Calibri"/>
              </a:rPr>
              <a:t>4</a:t>
            </a: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17363" y="1302151"/>
            <a:ext cx="5798916" cy="4444679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356" y="3646024"/>
            <a:ext cx="2939972" cy="28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30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773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0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65595" y="155990"/>
            <a:ext cx="9072000" cy="2846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261" fontAlgn="ctr"/>
            <a:r>
              <a:rPr lang="en-US" sz="2000" dirty="0" smtClean="0"/>
              <a:t> </a:t>
            </a:r>
            <a:r>
              <a:rPr lang="fr-FR" sz="2000" dirty="0" smtClean="0"/>
              <a:t> </a:t>
            </a:r>
            <a:r>
              <a:rPr lang="ru-RU" sz="2000" b="0" dirty="0" smtClean="0"/>
              <a:t>АО «Среднеуральский медеплавильный завод» БЕ 2100</a:t>
            </a:r>
            <a:endParaRPr lang="ru-RU" sz="2000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0067" y="224118"/>
            <a:ext cx="436780" cy="367553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950245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5698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950244" y="318088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535B97D3-2A5E-EE46-858F-3CD079345D15}"/>
              </a:ext>
            </a:extLst>
          </p:cNvPr>
          <p:cNvSpPr/>
          <p:nvPr/>
        </p:nvSpPr>
        <p:spPr>
          <a:xfrm>
            <a:off x="6667018" y="578734"/>
            <a:ext cx="5254905" cy="2744341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ГАРНИТУРА ЭЛ.ПРИВОДА 16751-00-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Ном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. №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36388</a:t>
            </a:r>
            <a:endParaRPr lang="ru-RU" sz="1100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Кол-во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41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err="1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компл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тоимость: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386 893,38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руб.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, 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цена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за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комп.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. </a:t>
            </a:r>
            <a:r>
              <a:rPr lang="ru-RU" sz="1100" kern="0" noProof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9 436,42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руб.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без НДС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рок хранения: </a:t>
            </a:r>
            <a:r>
              <a:rPr lang="en-US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c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01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6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года</a:t>
            </a:r>
            <a:endParaRPr lang="en-US" sz="1100" kern="0" dirty="0" smtClean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 smtClean="0">
                <a:solidFill>
                  <a:srgbClr val="333333"/>
                </a:solidFill>
              </a:rPr>
              <a:t>Состояние: новое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100" dirty="0">
              <a:solidFill>
                <a:srgbClr val="333333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>
                <a:solidFill>
                  <a:srgbClr val="333333"/>
                </a:solidFill>
              </a:rPr>
              <a:t>ОСНОВНЫЕ ТЕХНИЧЕСКИЕ ХАРАКТЕРИСТИКИ: </a:t>
            </a:r>
            <a:endParaRPr lang="ru-RU" altLang="ru-RU" sz="1100" dirty="0" smtClean="0">
              <a:solidFill>
                <a:srgbClr val="333333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 smtClean="0">
                <a:solidFill>
                  <a:srgbClr val="333333"/>
                </a:solidFill>
              </a:rPr>
              <a:t>Чертеж 16751-00-00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 smtClean="0">
                <a:solidFill>
                  <a:srgbClr val="333333"/>
                </a:solidFill>
              </a:rPr>
              <a:t>Назначение: для перекрестной стрелки Р65 М1/9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 smtClean="0">
                <a:solidFill>
                  <a:srgbClr val="333333"/>
                </a:solidFill>
              </a:rPr>
              <a:t>Усилие запирания, не более, Н  600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 smtClean="0">
                <a:solidFill>
                  <a:srgbClr val="333333"/>
                </a:solidFill>
              </a:rPr>
              <a:t>Стандарт ТУ 32 </a:t>
            </a:r>
            <a:r>
              <a:rPr lang="ru-RU" altLang="ru-RU" sz="1100" dirty="0" err="1" smtClean="0">
                <a:solidFill>
                  <a:srgbClr val="333333"/>
                </a:solidFill>
              </a:rPr>
              <a:t>цш</a:t>
            </a:r>
            <a:r>
              <a:rPr lang="ru-RU" altLang="ru-RU" sz="1100" dirty="0" smtClean="0">
                <a:solidFill>
                  <a:srgbClr val="333333"/>
                </a:solidFill>
              </a:rPr>
              <a:t> 2003-89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 smtClean="0">
                <a:solidFill>
                  <a:srgbClr val="333333"/>
                </a:solidFill>
              </a:rPr>
              <a:t>Вес,  кг 176</a:t>
            </a:r>
            <a:endParaRPr lang="ru-RU" altLang="ru-RU" sz="1100" dirty="0">
              <a:solidFill>
                <a:srgbClr val="333333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100" dirty="0">
              <a:solidFill>
                <a:srgbClr val="333333"/>
              </a:solidFill>
            </a:endParaRPr>
          </a:p>
          <a:p>
            <a:pPr lvl="0"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262626"/>
              </a:solidFill>
              <a:cs typeface="Segoe UI" panose="020B0502040204020203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94796" y="214016"/>
            <a:ext cx="436780" cy="367553"/>
          </a:xfrm>
          <a:prstGeom prst="roundRect">
            <a:avLst/>
          </a:prstGeom>
          <a:ln w="28575">
            <a:solidFill>
              <a:srgbClr val="F29313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32" dirty="0">
                <a:solidFill>
                  <a:schemeClr val="tx1"/>
                </a:solidFill>
                <a:latin typeface="Calibri"/>
              </a:rPr>
              <a:t>5</a:t>
            </a: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79382" y="1030870"/>
            <a:ext cx="607092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408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08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0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65595" y="155990"/>
            <a:ext cx="9072000" cy="2846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261" fontAlgn="ctr"/>
            <a:r>
              <a:rPr lang="en-US" sz="2000" dirty="0" smtClean="0"/>
              <a:t> </a:t>
            </a:r>
            <a:r>
              <a:rPr lang="ru-RU" sz="2000" dirty="0" smtClean="0"/>
              <a:t>АО «Среднеуральский медеплавильный завод» БЕ 2100</a:t>
            </a:r>
            <a:endParaRPr lang="ru-RU" sz="2000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0067" y="224118"/>
            <a:ext cx="436780" cy="367553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950245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5698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950244" y="318088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535B97D3-2A5E-EE46-858F-3CD079345D15}"/>
              </a:ext>
            </a:extLst>
          </p:cNvPr>
          <p:cNvSpPr/>
          <p:nvPr/>
        </p:nvSpPr>
        <p:spPr>
          <a:xfrm>
            <a:off x="6539697" y="648182"/>
            <a:ext cx="5428526" cy="2390398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КОЛЬЦО 01116629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Ном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. №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lang="ru-RU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522759</a:t>
            </a:r>
            <a:endParaRPr lang="ru-RU" sz="1100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Кол-во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467 шт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тоимость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11 717,25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.руб.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, 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цена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за шт.</a:t>
            </a:r>
            <a:r>
              <a:rPr lang="ru-RU" sz="1100" kern="0" noProof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453,36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руб. без НДС.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рок хранения: </a:t>
            </a:r>
            <a:r>
              <a:rPr lang="en-US" sz="11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c 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en-US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0</a:t>
            </a: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13 года, состояние: новое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Предназначены в качестве уплотнительных колец для спецтехники в т. ч. экскаваторов, погрузчиков, самосвалов, катков, тягачей.</a:t>
            </a:r>
            <a:endParaRPr lang="ru-RU" sz="1100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kern="0" dirty="0" smtClean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kern="0" dirty="0" smtClean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100" dirty="0">
              <a:solidFill>
                <a:srgbClr val="333333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100" dirty="0">
              <a:solidFill>
                <a:srgbClr val="333333"/>
              </a:solidFill>
            </a:endParaRPr>
          </a:p>
          <a:p>
            <a:pPr lvl="0"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262626"/>
              </a:solidFill>
              <a:cs typeface="Segoe UI" panose="020B0502040204020203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94796" y="214016"/>
            <a:ext cx="436780" cy="367553"/>
          </a:xfrm>
          <a:prstGeom prst="roundRect">
            <a:avLst/>
          </a:prstGeom>
          <a:ln w="28575">
            <a:solidFill>
              <a:srgbClr val="F29313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32" noProof="0" dirty="0">
                <a:solidFill>
                  <a:schemeClr val="tx1"/>
                </a:solidFill>
                <a:latin typeface="Calibri"/>
              </a:rPr>
              <a:t>6</a:t>
            </a: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84519" y="1012788"/>
            <a:ext cx="6041987" cy="519703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28336" y="3156876"/>
            <a:ext cx="3553430" cy="3281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638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08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8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10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65595" y="155990"/>
            <a:ext cx="9072000" cy="2846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261" fontAlgn="ctr"/>
            <a:r>
              <a:rPr lang="en-US" sz="2000" dirty="0" smtClean="0"/>
              <a:t> </a:t>
            </a:r>
            <a:r>
              <a:rPr lang="ru-RU" sz="2000" dirty="0" smtClean="0"/>
              <a:t>АО «Среднеуральский медеплавильный завод» БЕ 2100</a:t>
            </a:r>
            <a:endParaRPr lang="ru-RU" sz="2000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0067" y="224118"/>
            <a:ext cx="436780" cy="367553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950245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5698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950244" y="318088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535B97D3-2A5E-EE46-858F-3CD079345D15}"/>
              </a:ext>
            </a:extLst>
          </p:cNvPr>
          <p:cNvSpPr/>
          <p:nvPr/>
        </p:nvSpPr>
        <p:spPr>
          <a:xfrm>
            <a:off x="3791076" y="668111"/>
            <a:ext cx="8087332" cy="3175228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МАСКА ПАНОРАМНАЯ ПОЛНАЯ 69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Ном</a:t>
            </a:r>
            <a:r>
              <a:rPr lang="ru-RU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. №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lang="ru-RU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22903</a:t>
            </a:r>
            <a:endParaRPr lang="ru-RU" sz="1000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Кол-во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kumimoji="0" lang="ru-RU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000" kern="0" noProof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8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7 шт.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тоимость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lang="ru-RU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506 247,78</a:t>
            </a:r>
            <a:r>
              <a:rPr lang="ru-RU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руб.</a:t>
            </a: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,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цена</a:t>
            </a:r>
            <a:r>
              <a:rPr kumimoji="0" lang="ru-RU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за шт.</a:t>
            </a:r>
            <a:r>
              <a:rPr lang="ru-RU" sz="1000" kern="0" noProof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000" kern="0" noProof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5 818,94</a:t>
            </a:r>
            <a:r>
              <a:rPr lang="ru-RU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руб.</a:t>
            </a:r>
            <a:r>
              <a:rPr kumimoji="0" lang="ru-RU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без НДС.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рок хранения: </a:t>
            </a: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c 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en-US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0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12 года, состояние: новое;</a:t>
            </a:r>
          </a:p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ивают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щиту как от газов и паров, так и от аэрозолей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ыле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туманов, дымов).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меняются с различными фильтрами с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йонетным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креплением для защиты от газов и паров; с фильтром высокоэффективной очистки  в комбинации с держателем ; c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редфильтрами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для защиты от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ыле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туманов, распыляемой краски, пестицидов в комбинации с держателем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. Оснащены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лапанами вдоха и выдоха, снижающими накопление горячего воздуха и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влагообразовани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под лицевой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частью.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Не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трудняют речь.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 необходимости промываются водой с использованием моющих средств (без фильтров и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редфильт­ров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900" kern="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900" kern="0" dirty="0" smtClean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kern="0" dirty="0" smtClean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100" dirty="0">
              <a:solidFill>
                <a:srgbClr val="333333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100" dirty="0">
              <a:solidFill>
                <a:srgbClr val="333333"/>
              </a:solidFill>
            </a:endParaRPr>
          </a:p>
          <a:p>
            <a:pPr lvl="0"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262626"/>
              </a:solidFill>
              <a:cs typeface="Segoe UI" panose="020B0502040204020203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94796" y="214016"/>
            <a:ext cx="436780" cy="367553"/>
          </a:xfrm>
          <a:prstGeom prst="roundRect">
            <a:avLst/>
          </a:prstGeom>
          <a:ln w="28575">
            <a:solidFill>
              <a:srgbClr val="F29313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32" dirty="0">
                <a:solidFill>
                  <a:schemeClr val="tx1"/>
                </a:solidFill>
                <a:latin typeface="Calibri"/>
              </a:rPr>
              <a:t>7</a:t>
            </a: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88" y="668111"/>
            <a:ext cx="2580783" cy="252093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88" y="3416475"/>
            <a:ext cx="2580783" cy="266482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794" y="3416475"/>
            <a:ext cx="2875085" cy="265162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2136" y="3403273"/>
            <a:ext cx="2744458" cy="267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618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08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6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10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65595" y="155990"/>
            <a:ext cx="9072000" cy="2846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261" fontAlgn="ctr"/>
            <a:r>
              <a:rPr lang="en-US" sz="2000" dirty="0" smtClean="0"/>
              <a:t> </a:t>
            </a:r>
            <a:r>
              <a:rPr lang="ru-RU" sz="2000" dirty="0" smtClean="0"/>
              <a:t>АО «Среднеуральский медеплавильный завод» БЕ 2100</a:t>
            </a:r>
            <a:endParaRPr lang="ru-RU" sz="2000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0067" y="224118"/>
            <a:ext cx="436780" cy="367553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950245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5698" y="6308726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950244" y="318088"/>
            <a:ext cx="1700981" cy="454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32" b="0" i="0" u="none" strike="noStrike" kern="120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535B97D3-2A5E-EE46-858F-3CD079345D15}"/>
              </a:ext>
            </a:extLst>
          </p:cNvPr>
          <p:cNvSpPr/>
          <p:nvPr/>
        </p:nvSpPr>
        <p:spPr>
          <a:xfrm>
            <a:off x="4254974" y="668111"/>
            <a:ext cx="7631723" cy="4957767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КЛАПАН РЕГУЛИРУЮЩИЙ 35-35222 ДУ200 РУ1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Ном</a:t>
            </a:r>
            <a:r>
              <a:rPr lang="ru-RU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. №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lang="ru-RU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705007</a:t>
            </a:r>
            <a:endParaRPr lang="ru-RU" sz="1000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Кол-во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kumimoji="0" lang="ru-RU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шт.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тоимость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:</a:t>
            </a:r>
            <a:r>
              <a:rPr lang="ru-RU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551 096,32</a:t>
            </a:r>
            <a:r>
              <a:rPr lang="ru-RU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руб</a:t>
            </a:r>
            <a:r>
              <a:rPr lang="ru-RU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.</a:t>
            </a: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цена</a:t>
            </a:r>
            <a:r>
              <a:rPr kumimoji="0" lang="ru-RU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за шт.</a:t>
            </a:r>
            <a:r>
              <a:rPr lang="ru-RU" sz="1000" kern="0" noProof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75 548,16</a:t>
            </a:r>
            <a:r>
              <a:rPr lang="ru-RU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руб.</a:t>
            </a:r>
            <a:r>
              <a:rPr kumimoji="0" lang="ru-RU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 без НДС.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rPr>
              <a:t>Срок хранения: </a:t>
            </a: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c 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en-US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0</a:t>
            </a:r>
            <a:r>
              <a:rPr lang="ru-RU" sz="10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11 года, состояние: новое;</a:t>
            </a:r>
          </a:p>
          <a:p>
            <a:pPr lvl="0">
              <a:spcBef>
                <a:spcPts val="369"/>
              </a:spcBef>
              <a:defRPr/>
            </a:pPr>
            <a:r>
              <a:rPr lang="ru-RU" sz="1050" b="1" kern="0" dirty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КЛАПАН РЕГУЛИРУЮЩИЙ </a:t>
            </a:r>
            <a:r>
              <a:rPr lang="ru-RU" sz="1050" b="1" kern="0" dirty="0" smtClean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35-35212 ДУ150 </a:t>
            </a:r>
            <a:r>
              <a:rPr lang="ru-RU" sz="1050" b="1" kern="0" dirty="0">
                <a:solidFill>
                  <a:srgbClr val="EB8B2D"/>
                </a:solidFill>
                <a:latin typeface="Arial" panose="020B0604020202020204"/>
                <a:cs typeface="Calibri" panose="020F0502020204030204" pitchFamily="34" charset="0"/>
              </a:rPr>
              <a:t>РУ1</a:t>
            </a:r>
          </a:p>
          <a:p>
            <a:pPr lvl="0">
              <a:spcBef>
                <a:spcPts val="369"/>
              </a:spcBef>
              <a:defRPr/>
            </a:pPr>
            <a:r>
              <a:rPr lang="ru-RU" sz="9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Ном. №: </a:t>
            </a:r>
            <a:r>
              <a:rPr lang="ru-RU" sz="9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705008</a:t>
            </a:r>
            <a:endParaRPr lang="ru-RU" sz="900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lvl="0">
              <a:spcBef>
                <a:spcPts val="369"/>
              </a:spcBef>
              <a:defRPr/>
            </a:pPr>
            <a:r>
              <a:rPr lang="ru-RU" sz="9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Кол-во: 2 шт.</a:t>
            </a:r>
          </a:p>
          <a:p>
            <a:pPr lvl="0">
              <a:spcBef>
                <a:spcPts val="369"/>
              </a:spcBef>
              <a:defRPr/>
            </a:pPr>
            <a:r>
              <a:rPr lang="ru-RU" sz="9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Стоимость: </a:t>
            </a:r>
            <a:r>
              <a:rPr lang="ru-RU" sz="9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384 939,25 руб.</a:t>
            </a:r>
            <a:r>
              <a:rPr lang="en-US" sz="9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, </a:t>
            </a:r>
            <a:r>
              <a:rPr lang="ru-RU" sz="9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цена за шт. </a:t>
            </a:r>
            <a:r>
              <a:rPr lang="ru-RU" sz="9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192 469,62 руб. </a:t>
            </a:r>
            <a:r>
              <a:rPr lang="ru-RU" sz="9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без НДС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Срок хранения: </a:t>
            </a:r>
            <a:r>
              <a:rPr lang="en-US" sz="9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c </a:t>
            </a:r>
            <a:r>
              <a:rPr lang="ru-RU" sz="9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  <a:r>
              <a:rPr lang="en-US" sz="9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20</a:t>
            </a:r>
            <a:r>
              <a:rPr lang="ru-RU" sz="900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11 года, состояние: новое</a:t>
            </a:r>
            <a:r>
              <a:rPr lang="ru-RU" sz="900" kern="0" dirty="0" smtClean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</a:rPr>
              <a:t>;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900" kern="0" dirty="0" smtClean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900" b="1" dirty="0" smtClean="0">
                <a:solidFill>
                  <a:srgbClr val="0A0A0A"/>
                </a:solidFill>
                <a:latin typeface="Google Sans"/>
              </a:rPr>
              <a:t>Сегментные клапана </a:t>
            </a:r>
            <a:r>
              <a:rPr lang="ru-RU" altLang="ru-RU" sz="900" b="1" dirty="0">
                <a:solidFill>
                  <a:srgbClr val="0A0A0A"/>
                </a:solidFill>
                <a:latin typeface="Google Sans"/>
              </a:rPr>
              <a:t>серии </a:t>
            </a:r>
            <a:r>
              <a:rPr lang="ru-RU" altLang="ru-RU" sz="900" b="1" dirty="0" err="1">
                <a:solidFill>
                  <a:srgbClr val="0A0A0A"/>
                </a:solidFill>
                <a:latin typeface="Google Sans"/>
              </a:rPr>
              <a:t>Camflex</a:t>
            </a:r>
            <a:r>
              <a:rPr lang="ru-RU" altLang="ru-RU" sz="900" b="1" dirty="0">
                <a:solidFill>
                  <a:srgbClr val="0A0A0A"/>
                </a:solidFill>
                <a:latin typeface="Google Sans"/>
              </a:rPr>
              <a:t> II</a:t>
            </a:r>
            <a:r>
              <a:rPr lang="ru-RU" altLang="ru-RU" sz="900" dirty="0">
                <a:solidFill>
                  <a:srgbClr val="0A0A0A"/>
                </a:solidFill>
                <a:latin typeface="Google Sans"/>
              </a:rPr>
              <a:t> для </a:t>
            </a:r>
            <a:r>
              <a:rPr lang="ru-RU" altLang="ru-RU" sz="900" b="1" dirty="0">
                <a:solidFill>
                  <a:srgbClr val="0A0A0A"/>
                </a:solidFill>
                <a:latin typeface="Google Sans"/>
                <a:hlinkClick r:id="rId6"/>
              </a:rPr>
              <a:t>управления расходом жидкостей и газов</a:t>
            </a:r>
            <a:r>
              <a:rPr lang="ru-RU" altLang="ru-RU" sz="900" dirty="0">
                <a:solidFill>
                  <a:srgbClr val="0A0A0A"/>
                </a:solidFill>
                <a:latin typeface="Google Sans"/>
              </a:rPr>
              <a:t>, применяется для точного </a:t>
            </a:r>
            <a:r>
              <a:rPr lang="ru-RU" altLang="ru-RU" sz="900" b="1" dirty="0">
                <a:solidFill>
                  <a:srgbClr val="0A0A0A"/>
                </a:solidFill>
                <a:latin typeface="Google Sans"/>
              </a:rPr>
              <a:t>регулирования параметров теплоносителя (температуры, перепада давления, расхода)</a:t>
            </a:r>
            <a:r>
              <a:rPr lang="ru-RU" altLang="ru-RU" sz="900" dirty="0">
                <a:solidFill>
                  <a:srgbClr val="0A0A0A"/>
                </a:solidFill>
                <a:latin typeface="Google Sans"/>
              </a:rPr>
              <a:t> в системах теплоснабжения, водоснабжения, а также в промышленных процессах, благодаря своей конструкции он устойчив к кавитации, эрозии, подходит для сред с твердыми включениями и агрессивных сред, обеспечивая высокую пропускную способность. </a:t>
            </a:r>
            <a:endParaRPr lang="ru-RU" altLang="ru-RU" sz="4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900" b="1" dirty="0">
                <a:solidFill>
                  <a:srgbClr val="0A0A0A"/>
                </a:solidFill>
                <a:latin typeface="Google Sans"/>
              </a:rPr>
              <a:t>Основные функции и области применения:</a:t>
            </a:r>
            <a:endParaRPr lang="ru-RU" altLang="ru-RU" sz="4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900" b="1" dirty="0">
                <a:latin typeface="Google Sans"/>
              </a:rPr>
              <a:t>Регулирование параметров:</a:t>
            </a:r>
            <a:r>
              <a:rPr lang="ru-RU" altLang="ru-RU" sz="900" dirty="0">
                <a:latin typeface="Google Sans"/>
              </a:rPr>
              <a:t> Поддерживает заданные значения температуры, давления, перепада давления или расхода рабочей среды (воды, пара, газа, агрессивных жидкостей)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900" b="1" dirty="0">
                <a:latin typeface="Google Sans"/>
              </a:rPr>
              <a:t>Теплоэнергетика:</a:t>
            </a:r>
            <a:r>
              <a:rPr lang="ru-RU" altLang="ru-RU" sz="900" dirty="0">
                <a:latin typeface="Google Sans"/>
              </a:rPr>
              <a:t> Используется в тепловых сетях, тепловых пунктах зданий, системах отопления для </a:t>
            </a:r>
            <a:r>
              <a:rPr lang="ru-RU" altLang="ru-RU" sz="900" dirty="0" err="1">
                <a:latin typeface="Google Sans"/>
              </a:rPr>
              <a:t>погодозависимого</a:t>
            </a:r>
            <a:r>
              <a:rPr lang="ru-RU" altLang="ru-RU" sz="900" dirty="0">
                <a:latin typeface="Google Sans"/>
              </a:rPr>
              <a:t> регулирования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900" b="1" dirty="0">
                <a:latin typeface="Google Sans"/>
              </a:rPr>
              <a:t>Промышленность:</a:t>
            </a:r>
            <a:r>
              <a:rPr lang="ru-RU" altLang="ru-RU" sz="900" dirty="0">
                <a:latin typeface="Google Sans"/>
              </a:rPr>
              <a:t> Применяется в различных производственных процессах, где требуется точное управление потоком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900" b="1" dirty="0">
                <a:latin typeface="Google Sans"/>
              </a:rPr>
              <a:t>Устойчивость к сложным условиям:</a:t>
            </a:r>
            <a:r>
              <a:rPr lang="ru-RU" altLang="ru-RU" sz="900" dirty="0">
                <a:latin typeface="Google Sans"/>
              </a:rPr>
              <a:t> Благодаря специальным материалам (нержавеющая сталь, керамика) и конструкции (седло в форме сопла </a:t>
            </a:r>
            <a:r>
              <a:rPr lang="ru-RU" altLang="ru-RU" sz="900" dirty="0" err="1">
                <a:latin typeface="Google Sans"/>
              </a:rPr>
              <a:t>Вентури</a:t>
            </a:r>
            <a:r>
              <a:rPr lang="ru-RU" altLang="ru-RU" sz="900" dirty="0">
                <a:latin typeface="Google Sans"/>
              </a:rPr>
              <a:t>) он эффективен в условиях высокой скорости потока, с твердыми частицами и в агрессивных средах. 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900" b="1" dirty="0">
                <a:solidFill>
                  <a:srgbClr val="0A0A0A"/>
                </a:solidFill>
                <a:latin typeface="Google Sans"/>
              </a:rPr>
              <a:t>Ключевые характеристики:</a:t>
            </a:r>
            <a:endParaRPr lang="ru-RU" altLang="ru-RU" sz="4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900" b="1" dirty="0">
                <a:latin typeface="Google Sans"/>
              </a:rPr>
              <a:t>Тип:</a:t>
            </a:r>
            <a:r>
              <a:rPr lang="ru-RU" altLang="ru-RU" sz="900" dirty="0">
                <a:latin typeface="Google Sans"/>
              </a:rPr>
              <a:t> Сегментный, с эксцентричным плунжером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900" kern="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900" kern="0" dirty="0" smtClean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kern="0" dirty="0" smtClean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100" dirty="0">
              <a:solidFill>
                <a:srgbClr val="333333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100" dirty="0">
              <a:solidFill>
                <a:srgbClr val="333333"/>
              </a:solidFill>
            </a:endParaRPr>
          </a:p>
          <a:p>
            <a:pPr lvl="0"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262626"/>
              </a:solidFill>
              <a:cs typeface="Segoe UI" panose="020B0502040204020203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94796" y="214016"/>
            <a:ext cx="436780" cy="367553"/>
          </a:xfrm>
          <a:prstGeom prst="roundRect">
            <a:avLst/>
          </a:prstGeom>
          <a:ln w="28575">
            <a:solidFill>
              <a:srgbClr val="F29313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32" noProof="0" dirty="0">
                <a:solidFill>
                  <a:schemeClr val="tx1"/>
                </a:solidFill>
                <a:latin typeface="Calibri"/>
              </a:rPr>
              <a:t>8</a:t>
            </a: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0" y="0"/>
            <a:ext cx="27178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200" b="0" i="0" u="none" strike="noStrike" cap="none" normalizeH="0" baseline="0" smtClean="0">
              <a:ln>
                <a:noFill/>
              </a:ln>
              <a:solidFill>
                <a:srgbClr val="001D35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altLang="ru-RU" sz="1200" b="0" i="0" u="none" strike="noStrike" cap="none" normalizeH="0" baseline="0" smtClean="0">
                <a:ln>
                  <a:noFill/>
                </a:ln>
                <a:solidFill>
                  <a:srgbClr val="001D35"/>
                </a:solidFill>
                <a:effectLst/>
                <a:latin typeface="Google Sans"/>
              </a:rPr>
              <a:t/>
            </a:r>
            <a:br>
              <a:rPr kumimoji="0" lang="ru-RU" altLang="ru-RU" sz="1200" b="0" i="0" u="none" strike="noStrike" cap="none" normalizeH="0" baseline="0" smtClean="0">
                <a:ln>
                  <a:noFill/>
                </a:ln>
                <a:solidFill>
                  <a:srgbClr val="001D35"/>
                </a:solidFill>
                <a:effectLst/>
                <a:latin typeface="Google Sans"/>
              </a:rPr>
            </a:br>
            <a:endParaRPr kumimoji="0" lang="ru-RU" altLang="ru-RU" sz="1200" b="0" i="0" u="none" strike="noStrike" cap="none" normalizeH="0" baseline="0" smtClean="0">
              <a:ln>
                <a:noFill/>
              </a:ln>
              <a:solidFill>
                <a:srgbClr val="001D35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46" y="3641246"/>
            <a:ext cx="2875085" cy="257491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45" y="668111"/>
            <a:ext cx="2875085" cy="2866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891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1</TotalTime>
  <Words>978</Words>
  <Application>Microsoft Office PowerPoint</Application>
  <PresentationFormat>Широкоэкранный</PresentationFormat>
  <Paragraphs>121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5" baseType="lpstr">
      <vt:lpstr>Arial</vt:lpstr>
      <vt:lpstr>Calibri</vt:lpstr>
      <vt:lpstr>Calibri Light</vt:lpstr>
      <vt:lpstr>Google Sans</vt:lpstr>
      <vt:lpstr>Segoe UI</vt:lpstr>
      <vt:lpstr>Тема Office</vt:lpstr>
      <vt:lpstr>Слайд think-cell</vt:lpstr>
      <vt:lpstr>АО «Среднеуральский медеплавильный завод» БЕ 2100</vt:lpstr>
      <vt:lpstr>АО «Среднеуральский медеплавильный завод» БЕ 2100</vt:lpstr>
      <vt:lpstr>АО «Среднеуральский медеплавильный завод» БЕ 2100</vt:lpstr>
      <vt:lpstr> АО «Среднеуральский медеплавильный завод» БЕ 2100 </vt:lpstr>
      <vt:lpstr>  АО «Среднеуральский медеплавильный завод» БЕ 2100</vt:lpstr>
      <vt:lpstr> АО «Среднеуральский медеплавильный завод» БЕ 2100</vt:lpstr>
      <vt:lpstr> АО «Среднеуральский медеплавильный завод» БЕ 2100</vt:lpstr>
      <vt:lpstr> АО «Среднеуральский медеплавильный завод» БЕ 2100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ЗИЦИИ  НИЗКООБОРАЧИВАЕМЫХ ЗАПАСОВ ДЛЯ РАССМОТРЕНИЯ И ПРИНЯТИЯ РЕШЕНИЯ ПО ИСПОЛЬЗОВАНИЮ ЛИБО СПИСАНИЮ</dc:title>
  <dc:creator>Порозов Александр Павлович</dc:creator>
  <cp:lastModifiedBy>Идрисов Руслан Наильевич</cp:lastModifiedBy>
  <cp:revision>142</cp:revision>
  <dcterms:created xsi:type="dcterms:W3CDTF">2025-03-10T08:36:40Z</dcterms:created>
  <dcterms:modified xsi:type="dcterms:W3CDTF">2026-01-29T03:39:04Z</dcterms:modified>
</cp:coreProperties>
</file>